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4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83.xml" ContentType="application/vnd.openxmlformats-officedocument.presentationml.slideLayout+xml"/>
  <Override PartName="/ppt/theme/theme5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6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7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8.xml" ContentType="application/vnd.openxmlformats-officedocument.them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slideLayouts/slideLayout145.xml" ContentType="application/vnd.openxmlformats-officedocument.presentationml.slideLayout+xml"/>
  <Override PartName="/ppt/theme/theme9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0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1.xml" ContentType="application/vnd.openxmlformats-officedocument.theme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12.xml" ContentType="application/vnd.openxmlformats-officedocument.them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3.xml" ContentType="application/vnd.openxmlformats-officedocument.them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heme/theme14.xml" ContentType="application/vnd.openxmlformats-officedocument.theme+xml"/>
  <Override PartName="/ppt/theme/theme1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5" r:id="rId4"/>
    <p:sldMasterId id="2147483739" r:id="rId5"/>
    <p:sldMasterId id="2147483761" r:id="rId6"/>
    <p:sldMasterId id="2147483804" r:id="rId7"/>
    <p:sldMasterId id="2147483834" r:id="rId8"/>
    <p:sldMasterId id="2147483848" r:id="rId9"/>
    <p:sldMasterId id="2147483882" r:id="rId10"/>
    <p:sldMasterId id="2147483912" r:id="rId11"/>
    <p:sldMasterId id="2147483934" r:id="rId12"/>
    <p:sldMasterId id="2147483939" r:id="rId13"/>
    <p:sldMasterId id="2147483952" r:id="rId14"/>
    <p:sldMasterId id="2147483955" r:id="rId15"/>
    <p:sldMasterId id="2147483961" r:id="rId16"/>
  </p:sldMasterIdLst>
  <p:notesMasterIdLst>
    <p:notesMasterId r:id="rId21"/>
  </p:notesMasterIdLst>
  <p:handoutMasterIdLst>
    <p:handoutMasterId r:id="rId22"/>
  </p:handoutMasterIdLst>
  <p:sldIdLst>
    <p:sldId id="972" r:id="rId17"/>
    <p:sldId id="983" r:id="rId18"/>
    <p:sldId id="984" r:id="rId19"/>
    <p:sldId id="976" r:id="rId20"/>
  </p:sldIdLst>
  <p:sldSz cx="9144000" cy="5143500" type="screen16x9"/>
  <p:notesSz cx="7023100" cy="9309100"/>
  <p:defaultTextStyle>
    <a:defPPr>
      <a:defRPr lang="en-US"/>
    </a:defPPr>
    <a:lvl1pPr marL="0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13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29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43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458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572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686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801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915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DB000206-3202-4363-B894-731988F17D0C}">
          <p14:sldIdLst>
            <p14:sldId id="972"/>
            <p14:sldId id="983"/>
            <p14:sldId id="984"/>
            <p14:sldId id="976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OT" initials="DOT" lastIdx="1" clrIdx="0"/>
  <p:cmAuthor id="1" name="House" initials="H" lastIdx="1" clrIdx="1">
    <p:extLst/>
  </p:cmAuthor>
  <p:cmAuthor id="2" name="Beth Isler" initials="BI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CBD1D6"/>
    <a:srgbClr val="DEECFF"/>
    <a:srgbClr val="005878"/>
    <a:srgbClr val="F4F4F4"/>
    <a:srgbClr val="BDB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026" autoAdjust="0"/>
    <p:restoredTop sz="96325" autoAdjust="0"/>
  </p:normalViewPr>
  <p:slideViewPr>
    <p:cSldViewPr snapToGrid="0" snapToObjects="1">
      <p:cViewPr>
        <p:scale>
          <a:sx n="155" d="100"/>
          <a:sy n="155" d="100"/>
        </p:scale>
        <p:origin x="-738" y="-72"/>
      </p:cViewPr>
      <p:guideLst>
        <p:guide orient="horz" pos="2160"/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224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136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7916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r">
              <a:defRPr sz="1200"/>
            </a:lvl1pPr>
          </a:lstStyle>
          <a:p>
            <a:fld id="{5E98AFB4-DD19-4B7A-80D5-483C006766A7}" type="datetimeFigureOut">
              <a:rPr lang="en-US" smtClean="0"/>
              <a:t>9/2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7916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r">
              <a:defRPr sz="1200"/>
            </a:lvl1pPr>
          </a:lstStyle>
          <a:p>
            <a:fld id="{29BF4715-A615-41C2-A85E-36C06511204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3505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7916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r">
              <a:defRPr sz="1200"/>
            </a:lvl1pPr>
          </a:lstStyle>
          <a:p>
            <a:fld id="{36CF4146-8CAD-46C7-BA87-639F65429524}" type="datetimeFigureOut">
              <a:rPr lang="en-US" smtClean="0"/>
              <a:t>9/24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698500"/>
            <a:ext cx="62039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18" tIns="46209" rIns="92418" bIns="4620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986" y="4421705"/>
            <a:ext cx="5619130" cy="4189651"/>
          </a:xfrm>
          <a:prstGeom prst="rect">
            <a:avLst/>
          </a:prstGeom>
        </p:spPr>
        <p:txBody>
          <a:bodyPr vert="horz" lIns="92418" tIns="46209" rIns="92418" bIns="4620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7916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r">
              <a:defRPr sz="1200"/>
            </a:lvl1pPr>
          </a:lstStyle>
          <a:p>
            <a:fld id="{AC32D818-339A-4CF7-A601-259A7A9396C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84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13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29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43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58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572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86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01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15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tags" Target="../tags/tag116.xml"/><Relationship Id="rId18" Type="http://schemas.openxmlformats.org/officeDocument/2006/relationships/tags" Target="../tags/tag121.xml"/><Relationship Id="rId3" Type="http://schemas.openxmlformats.org/officeDocument/2006/relationships/tags" Target="../tags/tag106.xml"/><Relationship Id="rId21" Type="http://schemas.openxmlformats.org/officeDocument/2006/relationships/image" Target="../media/image7.emf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17" Type="http://schemas.openxmlformats.org/officeDocument/2006/relationships/tags" Target="../tags/tag120.xml"/><Relationship Id="rId2" Type="http://schemas.openxmlformats.org/officeDocument/2006/relationships/tags" Target="../tags/tag105.xml"/><Relationship Id="rId16" Type="http://schemas.openxmlformats.org/officeDocument/2006/relationships/tags" Target="../tags/tag119.xml"/><Relationship Id="rId20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5" Type="http://schemas.openxmlformats.org/officeDocument/2006/relationships/tags" Target="../tags/tag108.xml"/><Relationship Id="rId15" Type="http://schemas.openxmlformats.org/officeDocument/2006/relationships/tags" Target="../tags/tag118.xml"/><Relationship Id="rId10" Type="http://schemas.openxmlformats.org/officeDocument/2006/relationships/tags" Target="../tags/tag113.xml"/><Relationship Id="rId19" Type="http://schemas.openxmlformats.org/officeDocument/2006/relationships/slideMaster" Target="../slideMasters/slideMaster7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tags" Target="../tags/tag117.xml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18" Type="http://schemas.openxmlformats.org/officeDocument/2006/relationships/tags" Target="../tags/tag138.xml"/><Relationship Id="rId3" Type="http://schemas.openxmlformats.org/officeDocument/2006/relationships/tags" Target="../tags/tag123.xml"/><Relationship Id="rId21" Type="http://schemas.openxmlformats.org/officeDocument/2006/relationships/image" Target="../media/image7.emf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17" Type="http://schemas.openxmlformats.org/officeDocument/2006/relationships/tags" Target="../tags/tag137.xml"/><Relationship Id="rId2" Type="http://schemas.openxmlformats.org/officeDocument/2006/relationships/tags" Target="../tags/tag122.xml"/><Relationship Id="rId16" Type="http://schemas.openxmlformats.org/officeDocument/2006/relationships/tags" Target="../tags/tag136.xml"/><Relationship Id="rId20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5" Type="http://schemas.openxmlformats.org/officeDocument/2006/relationships/tags" Target="../tags/tag135.xml"/><Relationship Id="rId10" Type="http://schemas.openxmlformats.org/officeDocument/2006/relationships/tags" Target="../tags/tag130.xml"/><Relationship Id="rId19" Type="http://schemas.openxmlformats.org/officeDocument/2006/relationships/slideMaster" Target="../slideMasters/slideMaster7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tags" Target="../tags/tag13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tags" Target="../tags/tag4.xml"/><Relationship Id="rId21" Type="http://schemas.openxmlformats.org/officeDocument/2006/relationships/image" Target="../media/image7.emf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openxmlformats.org/officeDocument/2006/relationships/slideMaster" Target="../slideMasters/slideMaster2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13" Type="http://schemas.openxmlformats.org/officeDocument/2006/relationships/tags" Target="../tags/tag150.xml"/><Relationship Id="rId18" Type="http://schemas.openxmlformats.org/officeDocument/2006/relationships/tags" Target="../tags/tag155.xml"/><Relationship Id="rId3" Type="http://schemas.openxmlformats.org/officeDocument/2006/relationships/tags" Target="../tags/tag140.xml"/><Relationship Id="rId21" Type="http://schemas.openxmlformats.org/officeDocument/2006/relationships/image" Target="../media/image7.emf"/><Relationship Id="rId7" Type="http://schemas.openxmlformats.org/officeDocument/2006/relationships/tags" Target="../tags/tag144.xml"/><Relationship Id="rId12" Type="http://schemas.openxmlformats.org/officeDocument/2006/relationships/tags" Target="../tags/tag149.xml"/><Relationship Id="rId17" Type="http://schemas.openxmlformats.org/officeDocument/2006/relationships/tags" Target="../tags/tag154.xml"/><Relationship Id="rId2" Type="http://schemas.openxmlformats.org/officeDocument/2006/relationships/tags" Target="../tags/tag139.xml"/><Relationship Id="rId16" Type="http://schemas.openxmlformats.org/officeDocument/2006/relationships/tags" Target="../tags/tag153.xml"/><Relationship Id="rId20" Type="http://schemas.openxmlformats.org/officeDocument/2006/relationships/oleObject" Target="../embeddings/oleObject9.bin"/><Relationship Id="rId1" Type="http://schemas.openxmlformats.org/officeDocument/2006/relationships/vmlDrawing" Target="../drawings/vmlDrawing9.vml"/><Relationship Id="rId6" Type="http://schemas.openxmlformats.org/officeDocument/2006/relationships/tags" Target="../tags/tag143.xml"/><Relationship Id="rId11" Type="http://schemas.openxmlformats.org/officeDocument/2006/relationships/tags" Target="../tags/tag148.xml"/><Relationship Id="rId5" Type="http://schemas.openxmlformats.org/officeDocument/2006/relationships/tags" Target="../tags/tag142.xml"/><Relationship Id="rId15" Type="http://schemas.openxmlformats.org/officeDocument/2006/relationships/tags" Target="../tags/tag152.xml"/><Relationship Id="rId10" Type="http://schemas.openxmlformats.org/officeDocument/2006/relationships/tags" Target="../tags/tag147.xml"/><Relationship Id="rId19" Type="http://schemas.openxmlformats.org/officeDocument/2006/relationships/slideMaster" Target="../slideMasters/slideMaster8.xml"/><Relationship Id="rId4" Type="http://schemas.openxmlformats.org/officeDocument/2006/relationships/tags" Target="../tags/tag141.xml"/><Relationship Id="rId9" Type="http://schemas.openxmlformats.org/officeDocument/2006/relationships/tags" Target="../tags/tag146.xml"/><Relationship Id="rId14" Type="http://schemas.openxmlformats.org/officeDocument/2006/relationships/tags" Target="../tags/tag151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13" Type="http://schemas.openxmlformats.org/officeDocument/2006/relationships/tags" Target="../tags/tag167.xml"/><Relationship Id="rId18" Type="http://schemas.openxmlformats.org/officeDocument/2006/relationships/tags" Target="../tags/tag172.xml"/><Relationship Id="rId3" Type="http://schemas.openxmlformats.org/officeDocument/2006/relationships/tags" Target="../tags/tag157.xml"/><Relationship Id="rId21" Type="http://schemas.openxmlformats.org/officeDocument/2006/relationships/image" Target="../media/image7.emf"/><Relationship Id="rId7" Type="http://schemas.openxmlformats.org/officeDocument/2006/relationships/tags" Target="../tags/tag161.xml"/><Relationship Id="rId12" Type="http://schemas.openxmlformats.org/officeDocument/2006/relationships/tags" Target="../tags/tag166.xml"/><Relationship Id="rId17" Type="http://schemas.openxmlformats.org/officeDocument/2006/relationships/tags" Target="../tags/tag171.xml"/><Relationship Id="rId2" Type="http://schemas.openxmlformats.org/officeDocument/2006/relationships/tags" Target="../tags/tag156.xml"/><Relationship Id="rId16" Type="http://schemas.openxmlformats.org/officeDocument/2006/relationships/tags" Target="../tags/tag170.xml"/><Relationship Id="rId20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60.xml"/><Relationship Id="rId11" Type="http://schemas.openxmlformats.org/officeDocument/2006/relationships/tags" Target="../tags/tag165.xml"/><Relationship Id="rId5" Type="http://schemas.openxmlformats.org/officeDocument/2006/relationships/tags" Target="../tags/tag159.xml"/><Relationship Id="rId15" Type="http://schemas.openxmlformats.org/officeDocument/2006/relationships/tags" Target="../tags/tag169.xml"/><Relationship Id="rId10" Type="http://schemas.openxmlformats.org/officeDocument/2006/relationships/tags" Target="../tags/tag164.xml"/><Relationship Id="rId19" Type="http://schemas.openxmlformats.org/officeDocument/2006/relationships/slideMaster" Target="../slideMasters/slideMaster8.xml"/><Relationship Id="rId4" Type="http://schemas.openxmlformats.org/officeDocument/2006/relationships/tags" Target="../tags/tag158.xml"/><Relationship Id="rId9" Type="http://schemas.openxmlformats.org/officeDocument/2006/relationships/tags" Target="../tags/tag163.xml"/><Relationship Id="rId14" Type="http://schemas.openxmlformats.org/officeDocument/2006/relationships/tags" Target="../tags/tag16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3" Type="http://schemas.openxmlformats.org/officeDocument/2006/relationships/tags" Target="../tags/tag21.xml"/><Relationship Id="rId21" Type="http://schemas.openxmlformats.org/officeDocument/2006/relationships/image" Target="../media/image7.emf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0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5" Type="http://schemas.openxmlformats.org/officeDocument/2006/relationships/tags" Target="../tags/tag33.xml"/><Relationship Id="rId10" Type="http://schemas.openxmlformats.org/officeDocument/2006/relationships/tags" Target="../tags/tag28.xml"/><Relationship Id="rId19" Type="http://schemas.openxmlformats.org/officeDocument/2006/relationships/slideMaster" Target="../slideMasters/slideMaster2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3" Type="http://schemas.openxmlformats.org/officeDocument/2006/relationships/tags" Target="../tags/tag38.xml"/><Relationship Id="rId21" Type="http://schemas.openxmlformats.org/officeDocument/2006/relationships/image" Target="../media/image7.emf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10" Type="http://schemas.openxmlformats.org/officeDocument/2006/relationships/tags" Target="../tags/tag45.xml"/><Relationship Id="rId19" Type="http://schemas.openxmlformats.org/officeDocument/2006/relationships/slideMaster" Target="../slideMasters/slideMaster4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tags" Target="../tags/tag65.xml"/><Relationship Id="rId18" Type="http://schemas.openxmlformats.org/officeDocument/2006/relationships/tags" Target="../tags/tag70.xml"/><Relationship Id="rId3" Type="http://schemas.openxmlformats.org/officeDocument/2006/relationships/tags" Target="../tags/tag55.xml"/><Relationship Id="rId21" Type="http://schemas.openxmlformats.org/officeDocument/2006/relationships/image" Target="../media/image7.emf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tags" Target="../tags/tag69.xml"/><Relationship Id="rId2" Type="http://schemas.openxmlformats.org/officeDocument/2006/relationships/tags" Target="../tags/tag54.xml"/><Relationship Id="rId16" Type="http://schemas.openxmlformats.org/officeDocument/2006/relationships/tags" Target="../tags/tag68.xml"/><Relationship Id="rId20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5" Type="http://schemas.openxmlformats.org/officeDocument/2006/relationships/tags" Target="../tags/tag67.xml"/><Relationship Id="rId10" Type="http://schemas.openxmlformats.org/officeDocument/2006/relationships/tags" Target="../tags/tag62.xml"/><Relationship Id="rId19" Type="http://schemas.openxmlformats.org/officeDocument/2006/relationships/slideMaster" Target="../slideMasters/slideMaster4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tags" Target="../tags/tag6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3" Type="http://schemas.openxmlformats.org/officeDocument/2006/relationships/tags" Target="../tags/tag72.xml"/><Relationship Id="rId21" Type="http://schemas.openxmlformats.org/officeDocument/2006/relationships/image" Target="../media/image7.emf"/><Relationship Id="rId7" Type="http://schemas.openxmlformats.org/officeDocument/2006/relationships/tags" Target="../tags/tag76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" Type="http://schemas.openxmlformats.org/officeDocument/2006/relationships/tags" Target="../tags/tag71.xml"/><Relationship Id="rId16" Type="http://schemas.openxmlformats.org/officeDocument/2006/relationships/tags" Target="../tags/tag85.xml"/><Relationship Id="rId20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5" Type="http://schemas.openxmlformats.org/officeDocument/2006/relationships/tags" Target="../tags/tag74.xml"/><Relationship Id="rId15" Type="http://schemas.openxmlformats.org/officeDocument/2006/relationships/tags" Target="../tags/tag84.xml"/><Relationship Id="rId10" Type="http://schemas.openxmlformats.org/officeDocument/2006/relationships/tags" Target="../tags/tag79.xml"/><Relationship Id="rId19" Type="http://schemas.openxmlformats.org/officeDocument/2006/relationships/slideMaster" Target="../slideMasters/slideMaster6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tags" Target="../tags/tag8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tags" Target="../tags/tag99.xml"/><Relationship Id="rId18" Type="http://schemas.openxmlformats.org/officeDocument/2006/relationships/tags" Target="../tags/tag104.xml"/><Relationship Id="rId3" Type="http://schemas.openxmlformats.org/officeDocument/2006/relationships/tags" Target="../tags/tag89.xml"/><Relationship Id="rId21" Type="http://schemas.openxmlformats.org/officeDocument/2006/relationships/image" Target="../media/image7.emf"/><Relationship Id="rId7" Type="http://schemas.openxmlformats.org/officeDocument/2006/relationships/tags" Target="../tags/tag93.xml"/><Relationship Id="rId12" Type="http://schemas.openxmlformats.org/officeDocument/2006/relationships/tags" Target="../tags/tag98.xml"/><Relationship Id="rId17" Type="http://schemas.openxmlformats.org/officeDocument/2006/relationships/tags" Target="../tags/tag103.xml"/><Relationship Id="rId2" Type="http://schemas.openxmlformats.org/officeDocument/2006/relationships/tags" Target="../tags/tag88.xml"/><Relationship Id="rId16" Type="http://schemas.openxmlformats.org/officeDocument/2006/relationships/tags" Target="../tags/tag102.xml"/><Relationship Id="rId20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92.xml"/><Relationship Id="rId11" Type="http://schemas.openxmlformats.org/officeDocument/2006/relationships/tags" Target="../tags/tag97.xml"/><Relationship Id="rId5" Type="http://schemas.openxmlformats.org/officeDocument/2006/relationships/tags" Target="../tags/tag91.xml"/><Relationship Id="rId15" Type="http://schemas.openxmlformats.org/officeDocument/2006/relationships/tags" Target="../tags/tag101.xml"/><Relationship Id="rId10" Type="http://schemas.openxmlformats.org/officeDocument/2006/relationships/tags" Target="../tags/tag96.xml"/><Relationship Id="rId19" Type="http://schemas.openxmlformats.org/officeDocument/2006/relationships/slideMaster" Target="../slideMasters/slideMaster6.xm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4" Type="http://schemas.openxmlformats.org/officeDocument/2006/relationships/tags" Target="../tags/tag10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560785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73" y="2814638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33" y="1171575"/>
            <a:ext cx="6386513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9" y="2971800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3829050"/>
            <a:ext cx="3352800" cy="57150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3445327"/>
            <a:ext cx="5867400" cy="369314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marL="342836" indent="-342836"/>
            <a:endParaRPr lang="en-US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3396344"/>
            <a:ext cx="4572000" cy="34290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4280223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58453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71048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141423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10517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241802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6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93267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00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86279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5234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66298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06974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95961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986867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226563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9/24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11651500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24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354926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3466136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4615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73834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744934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419577889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272297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2879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077084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770A7-38BE-4700-AB05-EC64760C1BBC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21171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824068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606782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934752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chapter nam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229444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80550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608036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28290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844443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91972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2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6380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386979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48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81229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2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26833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444052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79945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88586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528524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82117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9/24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2527685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24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6171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6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68606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4242185"/>
      </p:ext>
    </p:extLst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5AB891-1635-4B93-914C-230B613642F0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24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00539D-457E-40EF-B562-8D954AD0BA86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51914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85099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670638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042545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5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5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AE43184-6F7F-4565-B637-22CFFE6A30C2}" type="datetime1">
              <a:rPr lang="en-US" alt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/24/2018</a:t>
            </a:fld>
            <a:endParaRPr lang="en-US" alt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2642"/>
            <a:r>
              <a:rPr lang="en-US"/>
              <a:t>Draft for Discussion &amp; Policy Purposes Only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93AC3-FFB4-404A-AC40-79D887D3CE52}" type="slidenum">
              <a:rPr lang="en-US" altLang="en-US" smtClean="0"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4837657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000000"/>
                </a:solidFill>
              </a:rPr>
              <a:pPr/>
              <a:t>9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805381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2" y="621793"/>
            <a:ext cx="9840243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9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088754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7352874"/>
      </p:ext>
    </p:extLst>
  </p:cSld>
  <p:clrMapOvr>
    <a:masterClrMapping/>
  </p:clrMapOvr>
  <p:hf hdr="0" dt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24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1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93186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689840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560785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73" y="2814638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33" y="1171575"/>
            <a:ext cx="6386513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9" y="2971800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3829050"/>
            <a:ext cx="3352800" cy="57150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3445327"/>
            <a:ext cx="5867400" cy="369314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marL="342836" indent="-342836"/>
            <a:endParaRPr lang="en-US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3396344"/>
            <a:ext cx="4572000" cy="34290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972438583"/>
      </p:ext>
    </p:extLst>
  </p:cSld>
  <p:clrMapOvr>
    <a:masterClrMapping/>
  </p:clrMapOvr>
  <p:hf hdr="0" dt="0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4485471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422896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406AE-AD4E-4014-A59B-A4A5B0DC3B1E}" type="datetimeFigureOut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lIns="91422" tIns="45711" rIns="91422" bIns="45711"/>
          <a:lstStyle/>
          <a:p>
            <a:pPr defTabSz="457113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8EB320-C3EA-46EB-BF96-1836E1C979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62988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80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033" tIns="41017" rIns="82033" bIns="41017" anchor="ctr"/>
          <a:lstStyle/>
          <a:p>
            <a:pPr algn="ctr" defTabSz="914015">
              <a:defRPr/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>
            <a:lvl1pPr algn="r">
              <a:defRPr sz="700"/>
            </a:lvl1pPr>
          </a:lstStyle>
          <a:p>
            <a:pPr defTabSz="914015"/>
            <a:fld id="{F809FA0C-9138-4409-9FF5-7DACD331B09B}" type="datetime1">
              <a:rPr lang="en-US" smtClean="0">
                <a:solidFill>
                  <a:srgbClr val="000000"/>
                </a:solidFill>
              </a:rPr>
              <a:pPr defTabSz="914015"/>
              <a:t>9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492417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1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381934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14" y="1274220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4" y="1271361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7193458"/>
      </p:ext>
    </p:extLst>
  </p:cSld>
  <p:clrMapOvr>
    <a:masterClrMapping/>
  </p:clrMapOvr>
  <p:hf hd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/>
          <a:p>
            <a:pPr defTabSz="914015"/>
            <a:fld id="{1AB85839-DE7E-4765-A9A0-B3F73C84A708}" type="datetime1">
              <a:rPr lang="en-US" smtClean="0">
                <a:solidFill>
                  <a:srgbClr val="000000"/>
                </a:solidFill>
              </a:rPr>
              <a:pPr defTabSz="914015"/>
              <a:t>9/24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4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457202"/>
            <a:ext cx="7642224" cy="447249"/>
          </a:xfrm>
          <a:prstGeom prst="rect">
            <a:avLst/>
          </a:prstGeom>
        </p:spPr>
        <p:txBody>
          <a:bodyPr lIns="82033" tIns="41017" rIns="82033" bIns="41017" anchor="b" anchorCtr="0"/>
          <a:lstStyle>
            <a:lvl1pPr>
              <a:lnSpc>
                <a:spcPct val="100000"/>
              </a:lnSpc>
              <a:defRPr sz="14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28575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0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339634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80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033" tIns="41017" rIns="82033" bIns="41017" anchor="ctr"/>
          <a:lstStyle/>
          <a:p>
            <a:pPr algn="ctr" defTabSz="914015">
              <a:defRPr/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>
            <a:lvl1pPr algn="r">
              <a:defRPr sz="700"/>
            </a:lvl1pPr>
          </a:lstStyle>
          <a:p>
            <a:pPr defTabSz="914015"/>
            <a:fld id="{F809FA0C-9138-4409-9FF5-7DACD331B09B}" type="datetime1">
              <a:rPr lang="en-US" smtClean="0">
                <a:solidFill>
                  <a:srgbClr val="000000"/>
                </a:solidFill>
              </a:rPr>
              <a:pPr defTabSz="914015"/>
              <a:t>9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999819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1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0983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14" y="1274220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4" y="1271361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2347274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88313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/>
          <a:p>
            <a:pPr defTabSz="914015"/>
            <a:fld id="{1AB85839-DE7E-4765-A9A0-B3F73C84A708}" type="datetime1">
              <a:rPr lang="en-US" smtClean="0">
                <a:solidFill>
                  <a:srgbClr val="000000"/>
                </a:solidFill>
              </a:rPr>
              <a:pPr defTabSz="914015"/>
              <a:t>9/24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4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457202"/>
            <a:ext cx="7642224" cy="447249"/>
          </a:xfrm>
          <a:prstGeom prst="rect">
            <a:avLst/>
          </a:prstGeom>
        </p:spPr>
        <p:txBody>
          <a:bodyPr lIns="82033" tIns="41017" rIns="82033" bIns="41017" anchor="b" anchorCtr="0"/>
          <a:lstStyle>
            <a:lvl1pPr>
              <a:lnSpc>
                <a:spcPct val="100000"/>
              </a:lnSpc>
              <a:defRPr sz="14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28575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0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51872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09528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1153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9/24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991603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09044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24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8225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60900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1846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892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26792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/>
              <a:t>9/24/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9909569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17399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/>
              <a:pPr>
                <a:defRPr/>
              </a:pPr>
              <a:t>9/24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86770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770A7-38BE-4700-AB05-EC64760C1BBC}" type="datetime1">
              <a:rPr lang="en-US"/>
              <a:pPr>
                <a:defRPr/>
              </a:pPr>
              <a:t>9/24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6624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37666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378269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02901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/>
              <a:t>9/24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4083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chapter nam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86061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774293"/>
            <a:ext cx="8262518" cy="3991439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409860"/>
            <a:ext cx="7751547" cy="280871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384056" y="104446"/>
            <a:ext cx="7550913" cy="182915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1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X. [Insert presentation or section title]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376427" y="4823479"/>
            <a:ext cx="1424940" cy="13146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8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Click to insert Secretariat]</a:t>
            </a:r>
          </a:p>
        </p:txBody>
      </p:sp>
    </p:spTree>
    <p:extLst>
      <p:ext uri="{BB962C8B-B14F-4D97-AF65-F5344CB8AC3E}">
        <p14:creationId xmlns:p14="http://schemas.microsoft.com/office/powerpoint/2010/main" val="403860694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028707"/>
            <a:ext cx="7848600" cy="1445419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628900"/>
            <a:ext cx="64008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 b="0"/>
            </a:lvl1pPr>
          </a:lstStyle>
          <a:p>
            <a:fld id="{603F03F5-39B4-4A53-8405-55E481442588}" type="datetime1">
              <a:rPr lang="en-US" smtClean="0">
                <a:solidFill>
                  <a:srgbClr val="4C5A6A"/>
                </a:solidFill>
              </a:rPr>
              <a:pPr/>
              <a:t>9/2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38600" y="4896613"/>
            <a:ext cx="1066800" cy="246888"/>
          </a:xfrm>
        </p:spPr>
        <p:txBody>
          <a:bodyPr/>
          <a:lstStyle>
            <a:lvl1pPr algn="ctr">
              <a:defRPr/>
            </a:lvl1pPr>
          </a:lstStyle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2548892"/>
            <a:ext cx="7848600" cy="1191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24531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Cap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85750"/>
            <a:ext cx="8229600" cy="742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AE7A69-897B-43D4-A170-793C9603000F}" type="datetime1">
              <a:rPr lang="en-US" smtClean="0">
                <a:solidFill>
                  <a:srgbClr val="4C5A6A"/>
                </a:solidFill>
              </a:rPr>
              <a:pPr/>
              <a:t>9/2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7"/>
          </p:nvPr>
        </p:nvSpPr>
        <p:spPr>
          <a:xfrm>
            <a:off x="457200" y="1028700"/>
            <a:ext cx="8229600" cy="30289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4057650"/>
            <a:ext cx="8229600" cy="5715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5790543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Caption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1800" y="1028702"/>
            <a:ext cx="5715000" cy="357729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28705"/>
            <a:ext cx="2139696" cy="358047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113" indent="0">
              <a:buNone/>
              <a:defRPr sz="1200"/>
            </a:lvl2pPr>
            <a:lvl3pPr marL="914229" indent="0">
              <a:buNone/>
              <a:defRPr sz="1000"/>
            </a:lvl3pPr>
            <a:lvl4pPr marL="1371343" indent="0">
              <a:buNone/>
              <a:defRPr sz="900"/>
            </a:lvl4pPr>
            <a:lvl5pPr marL="1828458" indent="0">
              <a:buNone/>
              <a:defRPr sz="900"/>
            </a:lvl5pPr>
            <a:lvl6pPr marL="2285572" indent="0">
              <a:buNone/>
              <a:defRPr sz="900"/>
            </a:lvl6pPr>
            <a:lvl7pPr marL="2742686" indent="0">
              <a:buNone/>
              <a:defRPr sz="900"/>
            </a:lvl7pPr>
            <a:lvl8pPr marL="3199801" indent="0">
              <a:buNone/>
              <a:defRPr sz="900"/>
            </a:lvl8pPr>
            <a:lvl9pPr marL="3656915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D20989-8FB9-4F8B-84F5-7169E12445A7}" type="datetime1">
              <a:rPr lang="en-US" smtClean="0">
                <a:solidFill>
                  <a:srgbClr val="4C5A6A"/>
                </a:solidFill>
              </a:rPr>
              <a:pPr/>
              <a:t>9/2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2743200" y="1028700"/>
            <a:ext cx="0" cy="36004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57200" y="285750"/>
            <a:ext cx="8229600" cy="742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3069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Char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85750"/>
            <a:ext cx="8229600" cy="742950"/>
          </a:xfrm>
        </p:spPr>
        <p:txBody>
          <a:bodyPr/>
          <a:lstStyle>
            <a:lvl1pPr>
              <a:defRPr baseline="0">
                <a:latin typeface="+mj-lt"/>
              </a:defRPr>
            </a:lvl1pPr>
          </a:lstStyle>
          <a:p>
            <a:r>
              <a:rPr lang="en-US" dirty="0"/>
              <a:t>Multiple Charts with 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A6430A-DDF3-4AE3-8739-C30FB9BA44D1}" type="datetime1">
              <a:rPr lang="en-US" smtClean="0">
                <a:solidFill>
                  <a:srgbClr val="4C5A6A"/>
                </a:solidFill>
              </a:rPr>
              <a:pPr/>
              <a:t>9/2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457200" y="1371600"/>
            <a:ext cx="4343400" cy="29146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5" name="Chart Placeholder 14"/>
          <p:cNvSpPr>
            <a:spLocks noGrp="1"/>
          </p:cNvSpPr>
          <p:nvPr>
            <p:ph type="chart" sz="quarter" idx="14"/>
          </p:nvPr>
        </p:nvSpPr>
        <p:spPr>
          <a:xfrm>
            <a:off x="4953000" y="1371600"/>
            <a:ext cx="3657600" cy="13716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7"/>
          </p:nvPr>
        </p:nvSpPr>
        <p:spPr>
          <a:xfrm>
            <a:off x="4953000" y="2971800"/>
            <a:ext cx="3657600" cy="1371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1" name="Straight Connector 30"/>
          <p:cNvCxnSpPr/>
          <p:nvPr/>
        </p:nvCxnSpPr>
        <p:spPr>
          <a:xfrm rot="10800000" flipV="1">
            <a:off x="4876800" y="1371600"/>
            <a:ext cx="0" cy="29146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34061666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ompare Charts-1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55015"/>
            <a:ext cx="4038600" cy="33741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55015"/>
            <a:ext cx="4038600" cy="33741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C94DE-F95D-4416-82D9-B1CCC7B7F957}" type="datetime1">
              <a:rPr lang="en-US" smtClean="0">
                <a:solidFill>
                  <a:srgbClr val="4C5A6A"/>
                </a:solidFill>
              </a:rPr>
              <a:pPr/>
              <a:t>9/2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1" name="Straight Connector 10"/>
          <p:cNvCxnSpPr>
            <a:endCxn id="9" idx="0"/>
          </p:cNvCxnSpPr>
          <p:nvPr/>
        </p:nvCxnSpPr>
        <p:spPr>
          <a:xfrm>
            <a:off x="4572000" y="1257300"/>
            <a:ext cx="0" cy="33718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3335433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mpare Charts -2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3931920" cy="400050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0">
                <a:solidFill>
                  <a:schemeClr val="tx2"/>
                </a:solidFill>
                <a:latin typeface="+mj-lt"/>
              </a:defRPr>
            </a:lvl1pPr>
            <a:lvl2pPr marL="457113" indent="0">
              <a:buNone/>
              <a:defRPr sz="2000" b="1"/>
            </a:lvl2pPr>
            <a:lvl3pPr marL="914229" indent="0">
              <a:buNone/>
              <a:defRPr sz="1800" b="1"/>
            </a:lvl3pPr>
            <a:lvl4pPr marL="1371343" indent="0">
              <a:buNone/>
              <a:defRPr sz="1600" b="1"/>
            </a:lvl4pPr>
            <a:lvl5pPr marL="1828458" indent="0">
              <a:buNone/>
              <a:defRPr sz="1600" b="1"/>
            </a:lvl5pPr>
            <a:lvl6pPr marL="2285572" indent="0">
              <a:buNone/>
              <a:defRPr sz="1600" b="1"/>
            </a:lvl6pPr>
            <a:lvl7pPr marL="2742686" indent="0">
              <a:buNone/>
              <a:defRPr sz="1600" b="1"/>
            </a:lvl7pPr>
            <a:lvl8pPr marL="3199801" indent="0">
              <a:buNone/>
              <a:defRPr sz="1600" b="1"/>
            </a:lvl8pPr>
            <a:lvl9pPr marL="365691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14500"/>
            <a:ext cx="3931920" cy="29146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257300"/>
            <a:ext cx="3931920" cy="400050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1800" b="0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113" indent="0">
              <a:buNone/>
              <a:defRPr sz="2000" b="1"/>
            </a:lvl2pPr>
            <a:lvl3pPr marL="914229" indent="0">
              <a:buNone/>
              <a:defRPr sz="1800" b="1"/>
            </a:lvl3pPr>
            <a:lvl4pPr marL="1371343" indent="0">
              <a:buNone/>
              <a:defRPr sz="1600" b="1"/>
            </a:lvl4pPr>
            <a:lvl5pPr marL="1828458" indent="0">
              <a:buNone/>
              <a:defRPr sz="1600" b="1"/>
            </a:lvl5pPr>
            <a:lvl6pPr marL="2285572" indent="0">
              <a:buNone/>
              <a:defRPr sz="1600" b="1"/>
            </a:lvl6pPr>
            <a:lvl7pPr marL="2742686" indent="0">
              <a:buNone/>
              <a:defRPr sz="1600" b="1"/>
            </a:lvl7pPr>
            <a:lvl8pPr marL="3199801" indent="0">
              <a:buNone/>
              <a:defRPr sz="1600" b="1"/>
            </a:lvl8pPr>
            <a:lvl9pPr marL="365691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1714500"/>
            <a:ext cx="3931920" cy="29146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E90F7-23F0-4FF7-BAF5-9BF26D22B253}" type="datetime1">
              <a:rPr lang="en-US" smtClean="0">
                <a:solidFill>
                  <a:srgbClr val="4C5A6A"/>
                </a:solidFill>
              </a:rPr>
              <a:pPr/>
              <a:t>9/2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4572000" y="1257300"/>
            <a:ext cx="0" cy="33718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14648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82123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67B5D0-CAEE-4B2C-AA1C-27506CB89BD7}" type="datetime1">
              <a:rPr lang="en-US" smtClean="0">
                <a:solidFill>
                  <a:srgbClr val="4C5A6A"/>
                </a:solidFill>
              </a:rPr>
              <a:pPr/>
              <a:t>9/2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572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8" name="Chart Placeholder 6"/>
          <p:cNvSpPr>
            <a:spLocks noGrp="1"/>
          </p:cNvSpPr>
          <p:nvPr>
            <p:ph type="chart" sz="quarter" idx="14"/>
          </p:nvPr>
        </p:nvSpPr>
        <p:spPr>
          <a:xfrm>
            <a:off x="25146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9" name="Chart Placeholder 6"/>
          <p:cNvSpPr>
            <a:spLocks noGrp="1"/>
          </p:cNvSpPr>
          <p:nvPr>
            <p:ph type="chart" sz="quarter" idx="15"/>
          </p:nvPr>
        </p:nvSpPr>
        <p:spPr>
          <a:xfrm>
            <a:off x="45720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0" name="Chart Placeholder 6"/>
          <p:cNvSpPr>
            <a:spLocks noGrp="1"/>
          </p:cNvSpPr>
          <p:nvPr>
            <p:ph type="chart" sz="quarter" idx="16"/>
          </p:nvPr>
        </p:nvSpPr>
        <p:spPr>
          <a:xfrm>
            <a:off x="66294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25146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1" hasCustomPrompt="1"/>
          </p:nvPr>
        </p:nvSpPr>
        <p:spPr>
          <a:xfrm>
            <a:off x="66294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106753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4C5A6A"/>
                </a:solidFill>
              </a:rPr>
              <a:pPr/>
              <a:t>9/2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41393851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62A77-B41F-487D-BEE4-5E0A74233C8B}" type="datetime1">
              <a:rPr lang="en-US" smtClean="0">
                <a:solidFill>
                  <a:srgbClr val="4C5A6A"/>
                </a:solidFill>
              </a:rPr>
              <a:pPr/>
              <a:t>9/2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7"/>
          </p:nvPr>
        </p:nvSpPr>
        <p:spPr>
          <a:xfrm>
            <a:off x="457200" y="1257300"/>
            <a:ext cx="4114800" cy="108585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8"/>
          </p:nvPr>
        </p:nvSpPr>
        <p:spPr>
          <a:xfrm>
            <a:off x="457200" y="2343150"/>
            <a:ext cx="8229600" cy="21717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4724400" y="1257300"/>
            <a:ext cx="3962400" cy="108585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Pu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21559225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854B4-02C5-4089-8FE9-BDD3E2181213}" type="datetime1">
              <a:rPr lang="en-US" smtClean="0">
                <a:solidFill>
                  <a:srgbClr val="4C5A6A"/>
                </a:solidFill>
              </a:rPr>
              <a:pPr/>
              <a:t>9/2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57200" y="1543050"/>
            <a:ext cx="4114800" cy="320040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8" name="Table Placeholder 6"/>
          <p:cNvSpPr>
            <a:spLocks noGrp="1"/>
          </p:cNvSpPr>
          <p:nvPr>
            <p:ph type="tbl" sz="quarter" idx="14"/>
          </p:nvPr>
        </p:nvSpPr>
        <p:spPr>
          <a:xfrm>
            <a:off x="4724400" y="1543050"/>
            <a:ext cx="3962400" cy="142875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9" name="Table Placeholder 6"/>
          <p:cNvSpPr>
            <a:spLocks noGrp="1"/>
          </p:cNvSpPr>
          <p:nvPr>
            <p:ph type="tbl" sz="quarter" idx="15"/>
          </p:nvPr>
        </p:nvSpPr>
        <p:spPr>
          <a:xfrm>
            <a:off x="4724400" y="3371850"/>
            <a:ext cx="3962400" cy="137160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1200150"/>
            <a:ext cx="41148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724400" y="1200150"/>
            <a:ext cx="39624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724400" y="3028950"/>
            <a:ext cx="39624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51206762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751C50-F8BC-4CD0-930F-628035F786CA}" type="datetime1">
              <a:rPr lang="en-US" smtClean="0">
                <a:solidFill>
                  <a:srgbClr val="4C5A6A"/>
                </a:solidFill>
              </a:rPr>
              <a:pPr/>
              <a:t>9/2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57200" y="1371600"/>
            <a:ext cx="4114800" cy="3086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4572000" y="1371600"/>
            <a:ext cx="4114800" cy="30861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33391732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833968"/>
            <a:ext cx="7772400" cy="1650206"/>
          </a:xfrm>
        </p:spPr>
        <p:txBody>
          <a:bodyPr anchor="b">
            <a:normAutofit/>
          </a:bodyPr>
          <a:lstStyle>
            <a:lvl1pPr algn="l">
              <a:defRPr sz="4800" b="0" cap="all" baseline="0"/>
            </a:lvl1pPr>
          </a:lstStyle>
          <a:p>
            <a:r>
              <a:rPr lang="en-US" dirty="0"/>
              <a:t>Add YOUR SECTION HEADER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22313" y="2703916"/>
            <a:ext cx="7772400" cy="1582340"/>
          </a:xfrm>
        </p:spPr>
        <p:txBody>
          <a:bodyPr anchor="t">
            <a:normAutofit/>
          </a:bodyPr>
          <a:lstStyle>
            <a:lvl1pPr marL="0" indent="0">
              <a:buFont typeface="Arial" pitchFamily="34" charset="0"/>
              <a:buChar char="•"/>
              <a:defRPr sz="2400">
                <a:solidFill>
                  <a:schemeClr val="tx2"/>
                </a:solidFill>
              </a:defRPr>
            </a:lvl1pPr>
            <a:lvl2pPr marL="45711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80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91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buFont typeface="Arial" pitchFamily="34" charset="0"/>
              <a:buChar char="•"/>
            </a:pPr>
            <a:r>
              <a:rPr lang="en-US" dirty="0"/>
              <a:t> Part 1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 Part 2</a:t>
            </a:r>
          </a:p>
          <a:p>
            <a:r>
              <a:rPr lang="en-US" dirty="0"/>
              <a:t>…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2062A-E319-4027-90AC-ECF897A9A7E9}" type="datetime1">
              <a:rPr lang="en-US" smtClean="0">
                <a:solidFill>
                  <a:srgbClr val="4C5A6A"/>
                </a:solidFill>
              </a:rPr>
              <a:pPr/>
              <a:t>9/2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62000" y="2605612"/>
            <a:ext cx="7772400" cy="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6325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ding P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1657356"/>
            <a:ext cx="7772400" cy="1650206"/>
          </a:xfrm>
        </p:spPr>
        <p:txBody>
          <a:bodyPr anchor="b">
            <a:normAutofit/>
          </a:bodyPr>
          <a:lstStyle>
            <a:lvl1pPr algn="l">
              <a:defRPr sz="4800" b="0" cap="all"/>
            </a:lvl1pPr>
          </a:lstStyle>
          <a:p>
            <a:r>
              <a:rPr lang="en-US" dirty="0"/>
              <a:t>Ending pa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3470154"/>
            <a:ext cx="7772400" cy="1125140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11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80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91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73A40E-7ED6-4F98-977C-3CCA6CF7528E}" type="datetime1">
              <a:rPr lang="en-US" smtClean="0">
                <a:solidFill>
                  <a:srgbClr val="4C5A6A"/>
                </a:solidFill>
              </a:rPr>
              <a:pPr/>
              <a:t>9/2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762000" y="3371850"/>
            <a:ext cx="7620000" cy="0"/>
          </a:xfrm>
          <a:prstGeom prst="line">
            <a:avLst/>
          </a:prstGeom>
          <a:ln w="28575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6568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D9E92-93ED-4428-B1BB-169CF89254F6}" type="datetime1">
              <a:rPr lang="en-US" smtClean="0">
                <a:solidFill>
                  <a:srgbClr val="4C5A6A"/>
                </a:solidFill>
              </a:rPr>
              <a:pPr/>
              <a:t>9/2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7395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457200"/>
            <a:ext cx="2057400" cy="4400550"/>
          </a:xfrm>
        </p:spPr>
        <p:txBody>
          <a:bodyPr vert="eaVert"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457200"/>
            <a:ext cx="6019800" cy="44005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E6CCB4-C0EB-4F1A-AC98-57A25DA91713}" type="datetime1">
              <a:rPr lang="en-US" smtClean="0">
                <a:solidFill>
                  <a:srgbClr val="4C5A6A"/>
                </a:solidFill>
              </a:rPr>
              <a:pPr/>
              <a:t>9/2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26163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300" b="0" i="0">
                <a:solidFill>
                  <a:srgbClr val="21212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6CAF5B-DF2B-4031-AD55-ADD83564B9F0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9356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1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959812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55AB82-C902-43B7-830C-A0B1F6B949C0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18916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300" b="0" i="0">
                <a:solidFill>
                  <a:srgbClr val="21212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5"/>
            <a:ext cx="397764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183005"/>
            <a:ext cx="397764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42D788-9722-4FAB-B9F2-64D8076D38D8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567107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5DAC9877-15DB-4A0C-A003-DF72C0C37841}" type="datetime1">
              <a:rPr lang="en-US" smtClean="0">
                <a:solidFill>
                  <a:srgbClr val="4C5A6A"/>
                </a:solidFill>
              </a:rPr>
              <a:pPr/>
              <a:t>9/24/2018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97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605744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121046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14602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737384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310062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0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08276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4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5081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70010" y="114300"/>
            <a:ext cx="7454799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400896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42191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92943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785004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717296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9/24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0868124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0442964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73954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33664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420574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1502949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184801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365058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205164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770A7-38BE-4700-AB05-EC64760C1BBC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33823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455213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497189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40502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A65E6C5E-EB96-49E9-952F-FF78FFA9C84B}" type="datetimeFigureOut">
              <a:rPr lang="en-US" smtClean="0"/>
              <a:t>9/24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339143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725907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0231364"/>
      </p:ext>
    </p:extLst>
  </p:cSld>
  <p:clrMapOvr>
    <a:masterClrMapping/>
  </p:clrMapOvr>
  <p:hf hd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8401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048554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58138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58138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774293"/>
            <a:ext cx="8262518" cy="3991439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409860"/>
            <a:ext cx="7751547" cy="280871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384056" y="104446"/>
            <a:ext cx="7550913" cy="182915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1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X. [Insert presentation or section title]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376427" y="4823479"/>
            <a:ext cx="1424940" cy="13146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8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Click to insert Secretariat]</a:t>
            </a:r>
          </a:p>
        </p:txBody>
      </p:sp>
    </p:spTree>
    <p:extLst>
      <p:ext uri="{BB962C8B-B14F-4D97-AF65-F5344CB8AC3E}">
        <p14:creationId xmlns:p14="http://schemas.microsoft.com/office/powerpoint/2010/main" val="14034327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728130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492073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43726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35388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642321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099998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92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8282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78004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47" y="533402"/>
            <a:ext cx="8299533" cy="37242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94322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16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42411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71490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074332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295257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9/24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1922135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24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88597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76980188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7873C5-D19C-4B34-A275-54CCE26588FB}" type="datetime1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24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262626">
                    <a:tint val="75000"/>
                  </a:srgbClr>
                </a:solidFill>
              </a:rPr>
              <a:t>|  Leading the Nation in Transportation Excellence  |  www.mass.gov/massdot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E68A5-324F-4706-96D2-4A61DA1261C7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32856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7873C5-D19C-4B34-A275-54CCE26588FB}" type="datetime1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24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262626">
                    <a:tint val="75000"/>
                  </a:srgbClr>
                </a:solidFill>
              </a:rPr>
              <a:t>|  Leading the Nation in Transportation Excellence  |  www.mass.gov/massdot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E68A5-324F-4706-96D2-4A61DA1261C7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56344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1014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8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49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1.xml"/><Relationship Id="rId2" Type="http://schemas.openxmlformats.org/officeDocument/2006/relationships/slideLayout" Target="../slideLayouts/slideLayout152.xml"/><Relationship Id="rId1" Type="http://schemas.openxmlformats.org/officeDocument/2006/relationships/slideLayout" Target="../slideLayouts/slideLayout151.xml"/><Relationship Id="rId4" Type="http://schemas.openxmlformats.org/officeDocument/2006/relationships/image" Target="../media/image13.jpg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5.xml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6" Type="http://schemas.openxmlformats.org/officeDocument/2006/relationships/image" Target="../media/image1.png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156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9.xml"/><Relationship Id="rId2" Type="http://schemas.openxmlformats.org/officeDocument/2006/relationships/slideLayout" Target="../slideLayouts/slideLayout158.xml"/><Relationship Id="rId1" Type="http://schemas.openxmlformats.org/officeDocument/2006/relationships/slideLayout" Target="../slideLayouts/slideLayout157.xml"/><Relationship Id="rId6" Type="http://schemas.openxmlformats.org/officeDocument/2006/relationships/image" Target="../media/image1.png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16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image" Target="../media/image5.jpeg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6.xml"/><Relationship Id="rId21" Type="http://schemas.openxmlformats.org/officeDocument/2006/relationships/image" Target="../media/image9.png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image" Target="../media/image10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26" Type="http://schemas.openxmlformats.org/officeDocument/2006/relationships/slideLayout" Target="../slideLayouts/slideLayout78.xml"/><Relationship Id="rId3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73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5" Type="http://schemas.openxmlformats.org/officeDocument/2006/relationships/slideLayout" Target="../slideLayouts/slideLayout77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0" Type="http://schemas.openxmlformats.org/officeDocument/2006/relationships/slideLayout" Target="../slideLayouts/slideLayout72.xml"/><Relationship Id="rId29" Type="http://schemas.openxmlformats.org/officeDocument/2006/relationships/slideLayout" Target="../slideLayouts/slideLayout81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24" Type="http://schemas.openxmlformats.org/officeDocument/2006/relationships/slideLayout" Target="../slideLayouts/slideLayout76.xml"/><Relationship Id="rId32" Type="http://schemas.openxmlformats.org/officeDocument/2006/relationships/image" Target="../media/image5.jpeg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23" Type="http://schemas.openxmlformats.org/officeDocument/2006/relationships/slideLayout" Target="../slideLayouts/slideLayout75.xml"/><Relationship Id="rId28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slideLayout" Target="../slideLayouts/slideLayout74.xml"/><Relationship Id="rId27" Type="http://schemas.openxmlformats.org/officeDocument/2006/relationships/slideLayout" Target="../slideLayouts/slideLayout79.xml"/><Relationship Id="rId30" Type="http://schemas.openxmlformats.org/officeDocument/2006/relationships/slideLayout" Target="../slideLayouts/slideLayout8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8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image" Target="../media/image5.jpeg"/><Relationship Id="rId2" Type="http://schemas.openxmlformats.org/officeDocument/2006/relationships/slideLayout" Target="../slideLayouts/slideLayout85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26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5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0" Type="http://schemas.openxmlformats.org/officeDocument/2006/relationships/slideLayout" Target="../slideLayouts/slideLayout118.xml"/><Relationship Id="rId29" Type="http://schemas.openxmlformats.org/officeDocument/2006/relationships/image" Target="../media/image5.jpeg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24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23" Type="http://schemas.openxmlformats.org/officeDocument/2006/relationships/slideLayout" Target="../slideLayouts/slideLayout121.xml"/><Relationship Id="rId28" Type="http://schemas.openxmlformats.org/officeDocument/2006/relationships/theme" Target="../theme/theme7.xml"/><Relationship Id="rId10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Relationship Id="rId22" Type="http://schemas.openxmlformats.org/officeDocument/2006/relationships/slideLayout" Target="../slideLayouts/slideLayout120.xml"/><Relationship Id="rId27" Type="http://schemas.openxmlformats.org/officeDocument/2006/relationships/slideLayout" Target="../slideLayouts/slideLayout125.xml"/><Relationship Id="rId30" Type="http://schemas.openxmlformats.org/officeDocument/2006/relationships/image" Target="../media/image1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18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28.xml"/><Relationship Id="rId21" Type="http://schemas.openxmlformats.org/officeDocument/2006/relationships/image" Target="../media/image5.jpeg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slideLayout" Target="../slideLayouts/slideLayout142.xml"/><Relationship Id="rId2" Type="http://schemas.openxmlformats.org/officeDocument/2006/relationships/slideLayout" Target="../slideLayouts/slideLayout127.xml"/><Relationship Id="rId16" Type="http://schemas.openxmlformats.org/officeDocument/2006/relationships/slideLayout" Target="../slideLayouts/slideLayout141.xml"/><Relationship Id="rId20" Type="http://schemas.openxmlformats.org/officeDocument/2006/relationships/theme" Target="../theme/theme8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35.xml"/><Relationship Id="rId19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Relationship Id="rId22" Type="http://schemas.openxmlformats.org/officeDocument/2006/relationships/image" Target="../media/image1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1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84" y="994172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84" y="471011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4907756"/>
            <a:ext cx="762000" cy="171450"/>
          </a:xfrm>
          <a:prstGeom prst="rect">
            <a:avLst/>
          </a:prstGeom>
        </p:spPr>
        <p:txBody>
          <a:bodyPr lIns="91422" tIns="45711" rIns="91422" bIns="45711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10" y="1273969"/>
            <a:ext cx="8348663" cy="3328988"/>
          </a:xfrm>
          <a:prstGeom prst="rect">
            <a:avLst/>
          </a:prstGeom>
        </p:spPr>
        <p:txBody>
          <a:bodyPr lIns="91422" tIns="45711" rIns="91422" bIns="45711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9" y="4701785"/>
            <a:ext cx="1673225" cy="116681"/>
          </a:xfrm>
          <a:prstGeom prst="rect">
            <a:avLst/>
          </a:prstGeom>
        </p:spPr>
        <p:txBody>
          <a:bodyPr lIns="91422" tIns="45711" rIns="91422" bIns="45711"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39113" y="166689"/>
            <a:ext cx="7112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32326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11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229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34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458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57" indent="-228557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155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2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827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599900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01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1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24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358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84" y="994172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84" y="471011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4907756"/>
            <a:ext cx="762000" cy="171450"/>
          </a:xfrm>
          <a:prstGeom prst="rect">
            <a:avLst/>
          </a:prstGeom>
        </p:spPr>
        <p:txBody>
          <a:bodyPr lIns="91422" tIns="45711" rIns="91422" bIns="45711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10" y="1273969"/>
            <a:ext cx="8348663" cy="3328988"/>
          </a:xfrm>
          <a:prstGeom prst="rect">
            <a:avLst/>
          </a:prstGeom>
        </p:spPr>
        <p:txBody>
          <a:bodyPr lIns="91422" tIns="45711" rIns="91422" bIns="45711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9" y="4701785"/>
            <a:ext cx="1673225" cy="116681"/>
          </a:xfrm>
          <a:prstGeom prst="rect">
            <a:avLst/>
          </a:prstGeom>
        </p:spPr>
        <p:txBody>
          <a:bodyPr lIns="91422" tIns="45711" rIns="91422" bIns="45711"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24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39113" y="166689"/>
            <a:ext cx="7112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6"/>
          <p:cNvSpPr txBox="1">
            <a:spLocks noChangeArrowheads="1"/>
          </p:cNvSpPr>
          <p:nvPr userDrawn="1"/>
        </p:nvSpPr>
        <p:spPr bwMode="auto">
          <a:xfrm>
            <a:off x="3265495" y="4726956"/>
            <a:ext cx="261302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136653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11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229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34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458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57" indent="-228557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155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2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827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599900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01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1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24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358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4290096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7DD084B-D6CE-8549-975C-55C9DDBAB6C4}" type="slidenum">
              <a:rPr lang="en-US" smtClean="0"/>
              <a:pPr defTabSz="457113"/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F240138-700E-704C-9B64-E53DA781ACBE}" type="datetimeFigureOut">
              <a:rPr lang="en-US" smtClean="0"/>
              <a:pPr defTabSz="457113"/>
              <a:t>9/24/2018</a:t>
            </a:fld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9313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</p:sldLayoutIdLst>
  <p:hf hdr="0"/>
  <p:txStyles>
    <p:titleStyle>
      <a:lvl1pPr algn="l" defTabSz="457113" rtl="0" eaLnBrk="1" latinLnBrk="0" hangingPunct="1">
        <a:spcBef>
          <a:spcPct val="0"/>
        </a:spcBef>
        <a:buNone/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</p:titleStyle>
    <p:bodyStyle>
      <a:lvl1pPr marL="342836" indent="-342836" algn="l" defTabSz="457113" rtl="0" eaLnBrk="1" latinLnBrk="0" hangingPunct="1">
        <a:spcBef>
          <a:spcPct val="20000"/>
        </a:spcBef>
        <a:buSzPct val="100000"/>
        <a:buFont typeface="Arial"/>
        <a:buChar char="•"/>
        <a:defRPr sz="3200" b="0" i="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800" b="0" i="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400" b="0" i="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9" y="340519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ontent Placeholder 8"/>
          <p:cNvSpPr txBox="1">
            <a:spLocks/>
          </p:cNvSpPr>
          <p:nvPr/>
        </p:nvSpPr>
        <p:spPr>
          <a:xfrm>
            <a:off x="469912" y="1273969"/>
            <a:ext cx="8348663" cy="3328988"/>
          </a:xfrm>
          <a:prstGeom prst="rect">
            <a:avLst/>
          </a:prstGeom>
        </p:spPr>
        <p:txBody>
          <a:bodyPr lIns="82033" tIns="41017" rIns="82033" bIns="41017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015">
              <a:buClr>
                <a:srgbClr val="000000"/>
              </a:buClr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88355" y="73821"/>
            <a:ext cx="633408" cy="611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61372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101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6pPr>
      <a:lvl7pPr marL="820334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7pPr>
      <a:lvl8pPr marL="1230499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8pPr>
      <a:lvl9pPr marL="16406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05084" indent="-205084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2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16979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820334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132231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4355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845749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6pPr>
      <a:lvl7pPr marL="2255916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7pPr>
      <a:lvl8pPr marL="26660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8pPr>
      <a:lvl9pPr marL="3076251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1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334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499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06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0832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00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1165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1331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9" y="340519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ontent Placeholder 8"/>
          <p:cNvSpPr txBox="1">
            <a:spLocks/>
          </p:cNvSpPr>
          <p:nvPr/>
        </p:nvSpPr>
        <p:spPr>
          <a:xfrm>
            <a:off x="469912" y="1273969"/>
            <a:ext cx="8348663" cy="3328988"/>
          </a:xfrm>
          <a:prstGeom prst="rect">
            <a:avLst/>
          </a:prstGeom>
        </p:spPr>
        <p:txBody>
          <a:bodyPr lIns="82033" tIns="41017" rIns="82033" bIns="41017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015">
              <a:buClr>
                <a:srgbClr val="000000"/>
              </a:buClr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88355" y="73821"/>
            <a:ext cx="633408" cy="611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99819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101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6pPr>
      <a:lvl7pPr marL="820334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7pPr>
      <a:lvl8pPr marL="1230499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8pPr>
      <a:lvl9pPr marL="16406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05084" indent="-205084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2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16979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820334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132231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4355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845749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6pPr>
      <a:lvl7pPr marL="2255916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7pPr>
      <a:lvl8pPr marL="26660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8pPr>
      <a:lvl9pPr marL="3076251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1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334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499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06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0832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00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1165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1331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9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3375" y="4416037"/>
            <a:ext cx="6096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0980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960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6" r:id="rId16"/>
    <p:sldLayoutId id="2147483757" r:id="rId17"/>
    <p:sldLayoutId id="2147483758" r:id="rId18"/>
    <p:sldLayoutId id="2147483783" r:id="rId19"/>
    <p:sldLayoutId id="2147483784" r:id="rId20"/>
    <p:sldLayoutId id="2147483785" r:id="rId21"/>
    <p:sldLayoutId id="2147483786" r:id="rId22"/>
    <p:sldLayoutId id="2147483787" r:id="rId23"/>
    <p:sldLayoutId id="2147483788" r:id="rId24"/>
    <p:sldLayoutId id="2147483790" r:id="rId25"/>
    <p:sldLayoutId id="2147483803" r:id="rId26"/>
    <p:sldLayoutId id="2147483845" r:id="rId27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165590"/>
            <a:ext cx="9144000" cy="17145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657600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9144000" cy="2743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96613"/>
            <a:ext cx="1828800" cy="246888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900" b="0">
                <a:solidFill>
                  <a:schemeClr val="accent4"/>
                </a:solidFill>
              </a:defRPr>
            </a:lvl1pPr>
          </a:lstStyle>
          <a:p>
            <a:fld id="{6EDAEFD3-8FAC-42C7-AA85-4A633B14C729}" type="datetime1">
              <a:rPr lang="en-US" smtClean="0">
                <a:solidFill>
                  <a:srgbClr val="4C5A6A"/>
                </a:solidFill>
              </a:rPr>
              <a:pPr/>
              <a:t>9/24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38600" y="4896613"/>
            <a:ext cx="1066800" cy="246888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900" b="0">
                <a:solidFill>
                  <a:schemeClr val="accent4"/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7239003" y="4888709"/>
            <a:ext cx="1376427" cy="197643"/>
            <a:chOff x="7345298" y="6518275"/>
            <a:chExt cx="1376427" cy="263525"/>
          </a:xfrm>
        </p:grpSpPr>
        <p:pic>
          <p:nvPicPr>
            <p:cNvPr id="12" name="Picture 2" descr="C:\Users\ynong\Desktop\pic sources\MassDOT_Logo_Color.png"/>
            <p:cNvPicPr>
              <a:picLocks noChangeAspect="1" noChangeArrowheads="1"/>
            </p:cNvPicPr>
            <p:nvPr userDrawn="1"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45298" y="6553200"/>
              <a:ext cx="1036702" cy="211518"/>
            </a:xfrm>
            <a:prstGeom prst="rect">
              <a:avLst/>
            </a:prstGeom>
            <a:noFill/>
          </p:spPr>
        </p:pic>
        <p:pic>
          <p:nvPicPr>
            <p:cNvPr id="13" name="Picture 3" descr="C:\Users\ynong\Desktop\pic sources\500px-MBTA_svg.png"/>
            <p:cNvPicPr>
              <a:picLocks noChangeAspect="1" noChangeArrowheads="1"/>
            </p:cNvPicPr>
            <p:nvPr userDrawn="1"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8200" y="6518275"/>
              <a:ext cx="263525" cy="263525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560183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777" r:id="rId16"/>
    <p:sldLayoutId id="2147483778" r:id="rId17"/>
    <p:sldLayoutId id="2147483779" r:id="rId18"/>
    <p:sldLayoutId id="2147483780" r:id="rId19"/>
  </p:sldLayoutIdLst>
  <p:hf hdr="0" ftr="0" dt="0"/>
  <p:txStyles>
    <p:titleStyle>
      <a:lvl1pPr algn="l" defTabSz="914229" rtl="0" eaLnBrk="1" latinLnBrk="0" hangingPunct="1">
        <a:spcBef>
          <a:spcPct val="0"/>
        </a:spcBef>
        <a:buNone/>
        <a:defRPr sz="4000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846" indent="-182846" algn="l" defTabSz="914229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indent="-182846" algn="l" defTabSz="914229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384" indent="-182846" algn="l" defTabSz="914229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651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497" indent="-137134" algn="l" defTabSz="914229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343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189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035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19880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4975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3" r:id="rId8"/>
    <p:sldLayoutId id="2147483814" r:id="rId9"/>
    <p:sldLayoutId id="2147483815" r:id="rId10"/>
    <p:sldLayoutId id="2147483816" r:id="rId11"/>
    <p:sldLayoutId id="2147483817" r:id="rId12"/>
    <p:sldLayoutId id="2147483818" r:id="rId13"/>
    <p:sldLayoutId id="2147483819" r:id="rId14"/>
    <p:sldLayoutId id="2147483820" r:id="rId15"/>
    <p:sldLayoutId id="2147483821" r:id="rId16"/>
    <p:sldLayoutId id="2147483822" r:id="rId17"/>
    <p:sldLayoutId id="2147483823" r:id="rId18"/>
    <p:sldLayoutId id="2147483824" r:id="rId19"/>
    <p:sldLayoutId id="2147483825" r:id="rId20"/>
    <p:sldLayoutId id="2147483826" r:id="rId21"/>
    <p:sldLayoutId id="2147483827" r:id="rId22"/>
    <p:sldLayoutId id="2147483828" r:id="rId23"/>
    <p:sldLayoutId id="2147483830" r:id="rId24"/>
    <p:sldLayoutId id="2147483837" r:id="rId25"/>
    <p:sldLayoutId id="2147483838" r:id="rId26"/>
    <p:sldLayoutId id="2147483839" r:id="rId27"/>
    <p:sldLayoutId id="2147483840" r:id="rId28"/>
    <p:sldLayoutId id="2147483841" r:id="rId29"/>
    <p:sldLayoutId id="2147483842" r:id="rId30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7DD084B-D6CE-8549-975C-55C9DDBAB6C4}" type="slidenum">
              <a:rPr lang="en-US" smtClean="0"/>
              <a:pPr defTabSz="457113"/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F240138-700E-704C-9B64-E53DA781ACBE}" type="datetimeFigureOut">
              <a:rPr lang="en-US" smtClean="0"/>
              <a:pPr defTabSz="457113"/>
              <a:t>9/24/2018</a:t>
            </a:fld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2691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</p:sldLayoutIdLst>
  <p:hf hdr="0"/>
  <p:txStyles>
    <p:titleStyle>
      <a:lvl1pPr algn="l" defTabSz="457113" rtl="0" eaLnBrk="1" latinLnBrk="0" hangingPunct="1">
        <a:spcBef>
          <a:spcPct val="0"/>
        </a:spcBef>
        <a:buNone/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</p:titleStyle>
    <p:bodyStyle>
      <a:lvl1pPr marL="342836" indent="-342836" algn="l" defTabSz="457113" rtl="0" eaLnBrk="1" latinLnBrk="0" hangingPunct="1">
        <a:spcBef>
          <a:spcPct val="20000"/>
        </a:spcBef>
        <a:buSzPct val="100000"/>
        <a:buFont typeface="Arial"/>
        <a:buChar char="•"/>
        <a:defRPr sz="3200" b="0" i="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800" b="0" i="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400" b="0" i="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7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7094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8" r:id="rId9"/>
    <p:sldLayoutId id="2147483859" r:id="rId10"/>
    <p:sldLayoutId id="2147483861" r:id="rId11"/>
    <p:sldLayoutId id="2147483862" r:id="rId12"/>
    <p:sldLayoutId id="2147483863" r:id="rId13"/>
    <p:sldLayoutId id="2147483864" r:id="rId14"/>
    <p:sldLayoutId id="2147483865" r:id="rId15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9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971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  <p:sldLayoutId id="2147483892" r:id="rId10"/>
    <p:sldLayoutId id="2147483893" r:id="rId11"/>
    <p:sldLayoutId id="2147483894" r:id="rId12"/>
    <p:sldLayoutId id="2147483895" r:id="rId13"/>
    <p:sldLayoutId id="2147483896" r:id="rId14"/>
    <p:sldLayoutId id="2147483897" r:id="rId15"/>
    <p:sldLayoutId id="2147483898" r:id="rId16"/>
    <p:sldLayoutId id="2147483899" r:id="rId17"/>
    <p:sldLayoutId id="2147483900" r:id="rId18"/>
    <p:sldLayoutId id="2147483903" r:id="rId19"/>
    <p:sldLayoutId id="2147483904" r:id="rId20"/>
    <p:sldLayoutId id="2147483905" r:id="rId21"/>
    <p:sldLayoutId id="2147483906" r:id="rId22"/>
    <p:sldLayoutId id="2147483907" r:id="rId23"/>
    <p:sldLayoutId id="2147483908" r:id="rId24"/>
    <p:sldLayoutId id="2147483910" r:id="rId25"/>
    <p:sldLayoutId id="2147483911" r:id="rId26"/>
    <p:sldLayoutId id="2147483945" r:id="rId27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1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9/24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826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  <p:sldLayoutId id="2147483924" r:id="rId12"/>
    <p:sldLayoutId id="2147483925" r:id="rId13"/>
    <p:sldLayoutId id="2147483926" r:id="rId14"/>
    <p:sldLayoutId id="2147483927" r:id="rId15"/>
    <p:sldLayoutId id="2147483928" r:id="rId16"/>
    <p:sldLayoutId id="2147483929" r:id="rId17"/>
    <p:sldLayoutId id="2147483930" r:id="rId18"/>
    <p:sldLayoutId id="2147483931" r:id="rId19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5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5638800" y="4725597"/>
            <a:ext cx="922338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algn="r" defTabSz="914229" eaLnBrk="1" hangingPunct="1">
              <a:defRPr sz="1000">
                <a:solidFill>
                  <a:srgbClr val="0E386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93AC3-FFB4-404A-AC40-79D887D3CE52}" type="slidenum">
              <a:rPr lang="en-US" altLang="en-US"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1219209" y="4718454"/>
            <a:ext cx="1152525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defTabSz="914229" eaLnBrk="1" hangingPunct="1">
              <a:defRPr sz="1000">
                <a:solidFill>
                  <a:srgbClr val="0E386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BEDD9-61B6-4B82-ACD9-27F8DC04F135}" type="datetime1">
              <a:rPr lang="en-US" alt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/24/2018</a:t>
            </a:fld>
            <a:endParaRPr lang="en-US" altLang="en-US" dirty="0"/>
          </a:p>
        </p:txBody>
      </p:sp>
      <p:sp>
        <p:nvSpPr>
          <p:cNvPr id="6149" name="Title Placeholder 5"/>
          <p:cNvSpPr>
            <a:spLocks noGrp="1"/>
          </p:cNvSpPr>
          <p:nvPr>
            <p:ph type="title"/>
          </p:nvPr>
        </p:nvSpPr>
        <p:spPr bwMode="auto">
          <a:xfrm>
            <a:off x="457200" y="551262"/>
            <a:ext cx="822960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90800" y="4743456"/>
            <a:ext cx="2895600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algn="ctr">
              <a:defRPr lang="en-US" sz="1000" smtClean="0">
                <a:solidFill>
                  <a:srgbClr val="0E386C"/>
                </a:solidFill>
                <a:latin typeface="Arial" pitchFamily="34" charset="0"/>
                <a:ea typeface="ＭＳ Ｐゴシック" panose="020B0600070205080204" pitchFamily="34" charset="-128"/>
                <a:cs typeface="Arial" pitchFamily="34" charset="0"/>
              </a:defRPr>
            </a:lvl1pPr>
          </a:lstStyle>
          <a:p>
            <a:pPr defTabSz="912642"/>
            <a:r>
              <a:rPr lang="en-US"/>
              <a:t>Draft for Discussion &amp; Policy Purposes On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3797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</p:sldLayoutIdLst>
  <p:hf hdr="0"/>
  <p:txStyles>
    <p:titleStyle>
      <a:lvl1pPr algn="l" defTabSz="457113" rtl="0" eaLnBrk="0" fontAlgn="base" hangingPunct="0">
        <a:spcBef>
          <a:spcPct val="0"/>
        </a:spcBef>
        <a:spcAft>
          <a:spcPct val="0"/>
        </a:spcAft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  <a:lvl2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113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229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343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458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836" indent="-342836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320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80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40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00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00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MCB Calendar – Recurring Topic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1968" y="114300"/>
            <a:ext cx="3119437" cy="171450"/>
          </a:xfrm>
        </p:spPr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7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83759647"/>
              </p:ext>
            </p:extLst>
          </p:nvPr>
        </p:nvGraphicFramePr>
        <p:xfrm>
          <a:off x="625784" y="886473"/>
          <a:ext cx="7858985" cy="36604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94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8149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01954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3395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eting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13798">
                <a:tc>
                  <a:txBody>
                    <a:bodyPr/>
                    <a:lstStyle/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 &amp;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GM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emarks</a:t>
                      </a:r>
                    </a:p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1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 schedule update</a:t>
                      </a: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cussion of </a:t>
                      </a: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s, performance, revenue, capital program update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view of upcoming FMCB agenda item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oint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 update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date on FMCB actions as per statute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57219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urring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ics     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uter rail performance  update</a:t>
                      </a:r>
                    </a:p>
                    <a:p>
                      <a:pPr marL="118745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/Orange line program update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 service and planning</a:t>
                      </a:r>
                      <a:endParaRPr lang="en-US" sz="1100" baseline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fety </a:t>
                      </a:r>
                      <a:endParaRPr lang="en-US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745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uman resources</a:t>
                      </a:r>
                      <a:endParaRPr lang="en-US" sz="1100" baseline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745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 program update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ial update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dership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LX Update</a:t>
                      </a:r>
                    </a:p>
                    <a:p>
                      <a:pPr marL="118872" lvl="0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TC update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uter rail vision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AN Productivity 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FC 2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 Performance Metrics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RIDE/TNC pilot  </a:t>
                      </a:r>
                      <a:endParaRPr lang="en-US" sz="1100" baseline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Monthly (3rd meeting of month) - September 24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October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Monthly (1st meeting of month) -  September 10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October 1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Monthly –  September 24 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October TBD </a:t>
                      </a: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 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July 16, </a:t>
                      </a:r>
                      <a:r>
                        <a:rPr lang="en-US" sz="1100" baseline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October 15</a:t>
                      </a:r>
                      <a:endParaRPr lang="en-US" sz="1100" baseline="0" dirty="0" smtClean="0">
                        <a:solidFill>
                          <a:srgbClr val="FF0000"/>
                        </a:solidFill>
                        <a:latin typeface="Arial"/>
                        <a:cs typeface="+mn-cs"/>
                      </a:endParaRP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September 24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December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August 13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October 1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August 13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November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August 13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November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June 11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October 15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September 24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December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July 16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October 15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September 10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December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 August 13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November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September 24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December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Continuous, as 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needed </a:t>
                      </a:r>
                      <a:endParaRPr lang="en-US" sz="11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938530" y="4907102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</p:spTree>
    <p:extLst>
      <p:ext uri="{BB962C8B-B14F-4D97-AF65-F5344CB8AC3E}">
        <p14:creationId xmlns:p14="http://schemas.microsoft.com/office/powerpoint/2010/main" val="36488655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9525" y="4908245"/>
            <a:ext cx="3800475" cy="236713"/>
          </a:xfrm>
          <a:prstGeom prst="rect">
            <a:avLst/>
          </a:prstGeom>
          <a:noFill/>
        </p:spPr>
        <p:txBody>
          <a:bodyPr wrap="square" lIns="82024" tIns="41012" rIns="82024" bIns="41012" rtlCol="0">
            <a:spAutoFit/>
          </a:bodyPr>
          <a:lstStyle/>
          <a:p>
            <a:pPr defTabSz="913907"/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*No public comment 1</a:t>
            </a:r>
            <a:r>
              <a:rPr lang="en-US" sz="10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st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meeting of every month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126619" y="4907102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ture Agendas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9" y="114300"/>
            <a:ext cx="3119437" cy="171450"/>
          </a:xfrm>
        </p:spPr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xmlns="" id="{1429836A-917B-4D34-8ABA-5702033F04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6186712"/>
              </p:ext>
            </p:extLst>
          </p:nvPr>
        </p:nvGraphicFramePr>
        <p:xfrm>
          <a:off x="475135" y="725054"/>
          <a:ext cx="8025666" cy="33371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014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41312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4689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615502">
                  <a:extLst>
                    <a:ext uri="{9D8B030D-6E8A-4147-A177-3AD203B41FA5}">
                      <a16:colId xmlns:a16="http://schemas.microsoft.com/office/drawing/2014/main" xmlns="" val="1262447235"/>
                    </a:ext>
                  </a:extLst>
                </a:gridCol>
              </a:tblGrid>
              <a:tr h="119307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at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06970">
                <a:tc rowSpan="12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October 1*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(144)</a:t>
                      </a: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Blue Line Program Moderniz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Headways, resiliency, and car strategy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414800452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Red/Orange Line Program Upda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Month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5772411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Red/Orange Line Signals Design-Build Contrac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Discussion and Possible Action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Red/Orange Line Consultant Contract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Discussion and Possible Action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MBTA Strategic Plan Update​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Capital Program Upda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kern="1200" baseline="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Quarterly Update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Early Morning and Late Night Pilot Update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Iron Horse Park Operations Control Center</a:t>
                      </a:r>
                      <a:endParaRPr lang="en-US" sz="1100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  <a:endParaRPr lang="en-US" sz="1100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noProof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Discussion and Possible Action</a:t>
                      </a:r>
                      <a:endParaRPr lang="en-US" sz="1100" kern="1200" baseline="0" noProof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South Coast Rail Follow-Up</a:t>
                      </a:r>
                      <a:endParaRPr lang="en-US" sz="1100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  <a:endParaRPr lang="en-US" sz="1100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kern="1200" baseline="0" noProof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Allston I-90 / West Station </a:t>
                      </a:r>
                      <a:endParaRPr lang="en-US" sz="1100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  <a:endParaRPr lang="en-US" sz="1100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kern="1200" baseline="0" noProof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Bus Procurement Contract</a:t>
                      </a:r>
                      <a:endParaRPr lang="en-US" sz="1100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  <a:endParaRPr lang="en-US" sz="1100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noProof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Discussion and Possible Action</a:t>
                      </a:r>
                      <a:endParaRPr lang="en-US" sz="1100" kern="1200" baseline="0" noProof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970">
                <a:tc v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100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kern="1200" baseline="0" noProof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50256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9525" y="4908245"/>
            <a:ext cx="3800475" cy="236713"/>
          </a:xfrm>
          <a:prstGeom prst="rect">
            <a:avLst/>
          </a:prstGeom>
          <a:noFill/>
        </p:spPr>
        <p:txBody>
          <a:bodyPr wrap="square" lIns="82024" tIns="41012" rIns="82024" bIns="41012" rtlCol="0">
            <a:spAutoFit/>
          </a:bodyPr>
          <a:lstStyle/>
          <a:p>
            <a:pPr defTabSz="913907"/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*No public comment 1</a:t>
            </a:r>
            <a:r>
              <a:rPr lang="en-US" sz="10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st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meeting of every month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032574" y="4907102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Future Agendas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mtClean="0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xmlns="" id="{C9FEF358-0C7F-4931-BB5E-17A7F99A07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1979642"/>
              </p:ext>
            </p:extLst>
          </p:nvPr>
        </p:nvGraphicFramePr>
        <p:xfrm>
          <a:off x="462690" y="689692"/>
          <a:ext cx="8025668" cy="16412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013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46011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4075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624659">
                  <a:extLst>
                    <a:ext uri="{9D8B030D-6E8A-4147-A177-3AD203B41FA5}">
                      <a16:colId xmlns:a16="http://schemas.microsoft.com/office/drawing/2014/main" xmlns="" val="1262447235"/>
                    </a:ext>
                  </a:extLst>
                </a:gridCol>
              </a:tblGrid>
              <a:tr h="221602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at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9307">
                <a:tc rowSpan="6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October </a:t>
                      </a:r>
                      <a:r>
                        <a:rPr lang="en-US" sz="1100" b="1" dirty="0" smtClean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15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(Joint – 145)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chemeClr val="tx1"/>
                          </a:solidFill>
                          <a:latin typeface="Arial"/>
                        </a:rPr>
                        <a:t>MBTA Winter Resiliency and Preparations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1930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FF0000"/>
                          </a:solidFill>
                          <a:latin typeface="Arial"/>
                        </a:rPr>
                        <a:t>Commuter Rail </a:t>
                      </a:r>
                      <a:r>
                        <a:rPr lang="en-US" sz="1100" b="0" i="0" u="none" strike="noStrike" kern="1200" baseline="0" noProof="0" dirty="0" smtClean="0">
                          <a:solidFill>
                            <a:srgbClr val="FF0000"/>
                          </a:solidFill>
                          <a:latin typeface="Arial"/>
                        </a:rPr>
                        <a:t>Vision Update</a:t>
                      </a:r>
                      <a:endParaRPr lang="en-US" dirty="0">
                        <a:solidFill>
                          <a:srgbClr val="FF0000"/>
                        </a:solidFill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FF0000"/>
                          </a:solidFill>
                          <a:latin typeface="Arial"/>
                        </a:rPr>
                        <a:t>PPT</a:t>
                      </a:r>
                      <a:endParaRPr lang="en-US" dirty="0">
                        <a:solidFill>
                          <a:srgbClr val="FF0000"/>
                        </a:solidFill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FF0000"/>
                          </a:solidFill>
                          <a:latin typeface="Arial"/>
                        </a:rPr>
                        <a:t>Month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55983457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chemeClr val="tx1"/>
                          </a:solidFill>
                          <a:latin typeface="Arial"/>
                        </a:rPr>
                        <a:t>Red Blue Connector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PPT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100" baseline="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chemeClr val="tx1"/>
                          </a:solidFill>
                          <a:latin typeface="Arial"/>
                        </a:rPr>
                        <a:t>Green Line </a:t>
                      </a:r>
                      <a:r>
                        <a:rPr lang="en-US" sz="1100" b="0" i="0" u="none" strike="noStrike" kern="1200" baseline="0" noProof="0" dirty="0" smtClean="0">
                          <a:solidFill>
                            <a:schemeClr val="tx1"/>
                          </a:solidFill>
                          <a:latin typeface="Arial"/>
                        </a:rPr>
                        <a:t>Extension Update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83127" marR="83127" marT="30257" marB="30257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Quarterly Update</a:t>
                      </a: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119282623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Safety Update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Quarterly Update</a:t>
                      </a:r>
                      <a:endParaRPr lang="en-US" sz="1100" b="0" i="0" u="none" strike="noStrike" kern="1200" baseline="0" noProof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Delegation of Authority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487907463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xmlns="" id="{C9FEF358-0C7F-4931-BB5E-17A7F99A07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8106536"/>
              </p:ext>
            </p:extLst>
          </p:nvPr>
        </p:nvGraphicFramePr>
        <p:xfrm>
          <a:off x="470002" y="2372370"/>
          <a:ext cx="8025668" cy="23404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013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46011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4075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624659">
                  <a:extLst>
                    <a:ext uri="{9D8B030D-6E8A-4147-A177-3AD203B41FA5}">
                      <a16:colId xmlns:a16="http://schemas.microsoft.com/office/drawing/2014/main" xmlns="" val="1262447235"/>
                    </a:ext>
                  </a:extLst>
                </a:gridCol>
              </a:tblGrid>
              <a:tr h="221602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at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9307">
                <a:tc rowSpan="9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October </a:t>
                      </a:r>
                      <a:r>
                        <a:rPr lang="en-US" sz="1100" b="1" dirty="0" smtClean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TBD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Focus40 Update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Chelsea Follow-up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1930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Commuter Rail Performance Update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Month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55983457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Bus Service and Planning Update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Monthly Update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73324421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</a:rPr>
                        <a:t>AFC 2.0 </a:t>
                      </a:r>
                      <a:r>
                        <a:rPr lang="en-US" sz="1100" b="0" i="0" u="none" strike="noStrike" baseline="0" noProof="0" dirty="0" smtClean="0">
                          <a:solidFill>
                            <a:srgbClr val="FF0000"/>
                          </a:solidFill>
                          <a:latin typeface="Arial"/>
                        </a:rPr>
                        <a:t>Project Update</a:t>
                      </a:r>
                      <a:endParaRPr lang="en-US" dirty="0">
                        <a:solidFill>
                          <a:srgbClr val="FF0000"/>
                        </a:solidFill>
                      </a:endParaRPr>
                    </a:p>
                  </a:txBody>
                  <a:tcPr marL="83127" marR="83127" marT="30257" marB="30257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100" dirty="0">
                        <a:solidFill>
                          <a:srgbClr val="FF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100" dirty="0">
                        <a:solidFill>
                          <a:srgbClr val="FF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MBTA Policing Strategy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Green Line Modernization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119282623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Mobility as a Service Strategy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487907463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fontAlgn="auto" latinLnBrk="0" hangingPunct="1"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RIDE Update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38322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5"/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3034378869"/>
              </p:ext>
            </p:extLst>
          </p:nvPr>
        </p:nvGraphicFramePr>
        <p:xfrm>
          <a:off x="461963" y="950913"/>
          <a:ext cx="8405653" cy="35361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7165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334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01707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s to S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edule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07975">
                <a:tc>
                  <a:txBody>
                    <a:bodyPr/>
                    <a:lstStyle/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Dwell Time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MBTA Resiliency Planning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Trespasser Strikes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Solar Canopies 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Locomotive Overhaul Programs Update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Contract Oversight Discussion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MHS Emergency Access Tunnel 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chemeClr val="tx1"/>
                          </a:solidFill>
                          <a:latin typeface="Arial"/>
                        </a:rPr>
                        <a:t>Uniforms 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chemeClr val="tx1"/>
                          </a:solidFill>
                          <a:latin typeface="Arial"/>
                        </a:rPr>
                        <a:t>State of Good Repair – Recast of Capital </a:t>
                      </a:r>
                      <a:r>
                        <a:rPr lang="en-US" sz="1100" b="0" i="0" u="none" strike="noStrike" baseline="0" noProof="0" dirty="0" smtClean="0">
                          <a:solidFill>
                            <a:schemeClr val="tx1"/>
                          </a:solidFill>
                          <a:latin typeface="Arial"/>
                        </a:rPr>
                        <a:t>Need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 smtClean="0">
                          <a:solidFill>
                            <a:schemeClr val="tx1"/>
                          </a:solidFill>
                          <a:latin typeface="Arial"/>
                        </a:rPr>
                        <a:t>AFC 2.0 – Commuter Rail Implementation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100" b="0" i="0" u="none" strike="noStrike" baseline="0" noProof="0" dirty="0">
                        <a:solidFill>
                          <a:schemeClr val="tx1"/>
                        </a:solidFill>
                        <a:latin typeface="Arial"/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Discussion of the operational implication of dwell time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Working group update on activities and action plan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Includes: GLX, AFC 2, Bus, Keolis, … 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Early 2019 (for CIP Process)</a:t>
                      </a: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MCB Calendar – To Be Schedule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3" y="114300"/>
            <a:ext cx="3119437" cy="171450"/>
          </a:xfrm>
        </p:spPr>
        <p:txBody>
          <a:bodyPr/>
          <a:lstStyle/>
          <a:p>
            <a:r>
              <a:rPr lang="en-US" dirty="0"/>
              <a:t>Fiscal &amp; Management Control Board</a:t>
            </a:r>
          </a:p>
          <a:p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</p:spTree>
    <p:extLst>
      <p:ext uri="{BB962C8B-B14F-4D97-AF65-F5344CB8AC3E}">
        <p14:creationId xmlns:p14="http://schemas.microsoft.com/office/powerpoint/2010/main" val="21765988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jpeg"/></Relationships>
</file>

<file path=ppt/theme/theme1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3" id="{46C860BB-CEC2-4323-AF68-6C413613BB7E}" vid="{6C6AA7CE-4E8A-4B1B-B4AB-6716735CB656}"/>
    </a:ext>
  </a:extLst>
</a:theme>
</file>

<file path=ppt/theme/theme11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1_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3" id="{46C860BB-CEC2-4323-AF68-6C413613BB7E}" vid="{6C6AA7CE-4E8A-4B1B-B4AB-6716735CB656}"/>
    </a:ext>
  </a:extLst>
</a:theme>
</file>

<file path=ppt/theme/theme13.xml><?xml version="1.0" encoding="utf-8"?>
<a:theme xmlns:a="http://schemas.openxmlformats.org/drawingml/2006/main" name="2_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3" id="{46C860BB-CEC2-4323-AF68-6C413613BB7E}" vid="{6C6AA7CE-4E8A-4B1B-B4AB-6716735CB656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1" id="{0B9DD42A-02F8-104D-9910-D1A64A753B29}" vid="{45318140-5A3E-7B4C-A710-E7E511F82756}"/>
    </a:ext>
  </a:extLst>
</a:theme>
</file>

<file path=ppt/theme/theme3.xml><?xml version="1.0" encoding="utf-8"?>
<a:theme xmlns:a="http://schemas.openxmlformats.org/drawingml/2006/main" name="OPMI-2">
  <a:themeElements>
    <a:clrScheme name="opm-color">
      <a:dk1>
        <a:srgbClr val="292934"/>
      </a:dk1>
      <a:lt1>
        <a:srgbClr val="FFFFFF"/>
      </a:lt1>
      <a:dk2>
        <a:srgbClr val="000000"/>
      </a:dk2>
      <a:lt2>
        <a:srgbClr val="FFFFFF"/>
      </a:lt2>
      <a:accent1>
        <a:srgbClr val="21A899"/>
      </a:accent1>
      <a:accent2>
        <a:srgbClr val="FFD852"/>
      </a:accent2>
      <a:accent3>
        <a:srgbClr val="27304D"/>
      </a:accent3>
      <a:accent4>
        <a:srgbClr val="4C5A6A"/>
      </a:accent4>
      <a:accent5>
        <a:srgbClr val="8256A5"/>
      </a:accent5>
      <a:accent6>
        <a:srgbClr val="E46C0A"/>
      </a:accent6>
      <a:hlink>
        <a:srgbClr val="0000FF"/>
      </a:hlink>
      <a:folHlink>
        <a:srgbClr val="800080"/>
      </a:folHlink>
    </a:clrScheme>
    <a:fontScheme name="Trek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1" id="{0B9DD42A-02F8-104D-9910-D1A64A753B29}" vid="{45318140-5A3E-7B4C-A710-E7E511F82756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1" id="{0B9DD42A-02F8-104D-9910-D1A64A753B29}" vid="{45318140-5A3E-7B4C-A710-E7E511F82756}"/>
    </a:ext>
  </a:extLst>
</a:theme>
</file>

<file path=ppt/theme/theme7.xml><?xml version="1.0" encoding="utf-8"?>
<a:theme xmlns:a="http://schemas.openxmlformats.org/drawingml/2006/main" name="3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1" id="{0B9DD42A-02F8-104D-9910-D1A64A753B29}" vid="{45318140-5A3E-7B4C-A710-E7E511F82756}"/>
    </a:ext>
  </a:extLst>
</a:theme>
</file>

<file path=ppt/theme/theme8.xml><?xml version="1.0" encoding="utf-8"?>
<a:theme xmlns:a="http://schemas.openxmlformats.org/drawingml/2006/main" name="4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1" id="{0B9DD42A-02F8-104D-9910-D1A64A753B29}" vid="{45318140-5A3E-7B4C-A710-E7E511F82756}"/>
    </a:ext>
  </a:extLst>
</a:theme>
</file>

<file path=ppt/theme/theme9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C4D1B9B35A7C5469B16801C501C644E" ma:contentTypeVersion="2" ma:contentTypeDescription="Create a new document." ma:contentTypeScope="" ma:versionID="ae886022c6a593ba58aa04d356bd0e73">
  <xsd:schema xmlns:xsd="http://www.w3.org/2001/XMLSchema" xmlns:xs="http://www.w3.org/2001/XMLSchema" xmlns:p="http://schemas.microsoft.com/office/2006/metadata/properties" xmlns:ns2="66885f88-23e1-46eb-a6b7-87275c3887c6" targetNamespace="http://schemas.microsoft.com/office/2006/metadata/properties" ma:root="true" ma:fieldsID="9c8b41dafc88a58b2bb8f785c147a607" ns2:_="">
    <xsd:import namespace="66885f88-23e1-46eb-a6b7-87275c3887c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885f88-23e1-46eb-a6b7-87275c3887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1C1FBE7-BD0D-4790-A89F-D2B28303EB5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B3155DC-D9D9-4F94-BD7C-623CCD0E93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6885f88-23e1-46eb-a6b7-87275c3887c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0F1FC64-E47D-4612-8598-863A817D5AF1}">
  <ds:schemaRefs>
    <ds:schemaRef ds:uri="http://purl.org/dc/terms/"/>
    <ds:schemaRef ds:uri="1c1fd1a8-c0d4-4169-b1f5-42897fcb2a19"/>
    <ds:schemaRef ds:uri="http://schemas.openxmlformats.org/package/2006/metadata/core-properties"/>
    <ds:schemaRef ds:uri="http://schemas.microsoft.com/office/2006/metadata/properties"/>
    <ds:schemaRef ds:uri="http://schemas.microsoft.com/office/infopath/2007/PartnerControls"/>
    <ds:schemaRef ds:uri="http://purl.org/dc/elements/1.1/"/>
    <ds:schemaRef ds:uri="http://purl.org/dc/dcmitype/"/>
    <ds:schemaRef ds:uri="http://schemas.microsoft.com/office/2006/documentManagement/typ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BTA Template</Template>
  <TotalTime>30079</TotalTime>
  <Words>395</Words>
  <Application>Microsoft Office PowerPoint</Application>
  <PresentationFormat>On-screen Show (16:9)</PresentationFormat>
  <Paragraphs>151</Paragraphs>
  <Slides>4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8" baseType="lpstr">
      <vt:lpstr>Presentation3</vt:lpstr>
      <vt:lpstr>MassDOT Blue Title White Content</vt:lpstr>
      <vt:lpstr>OPMI-2</vt:lpstr>
      <vt:lpstr>1_MassDOT Blue Title White Content</vt:lpstr>
      <vt:lpstr>Office Theme</vt:lpstr>
      <vt:lpstr>2_MassDOT Blue Title White Content</vt:lpstr>
      <vt:lpstr>3_MassDOT Blue Title White Content</vt:lpstr>
      <vt:lpstr>4_MassDOT Blue Title White Content</vt:lpstr>
      <vt:lpstr>2_Office Theme</vt:lpstr>
      <vt:lpstr>MBTA Black Line - Blue Title Template</vt:lpstr>
      <vt:lpstr>3_Office Theme</vt:lpstr>
      <vt:lpstr>1_MBTA Black Line - Blue Title Template</vt:lpstr>
      <vt:lpstr>2_MBTA Black Line - Blue Title Template</vt:lpstr>
      <vt:lpstr>think-cell Slide</vt:lpstr>
      <vt:lpstr>FMCB Calendar – Recurring Topics</vt:lpstr>
      <vt:lpstr>Future Agendas</vt:lpstr>
      <vt:lpstr>Future Agendas</vt:lpstr>
      <vt:lpstr>FMCB Calendar – To Be Scheduled</vt:lpstr>
    </vt:vector>
  </TitlesOfParts>
  <Company>MassDO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MCB Calendar – Recurring Topics</dc:title>
  <dc:creator>Trey Joseph Wadsworth</dc:creator>
  <cp:lastModifiedBy>DAS</cp:lastModifiedBy>
  <cp:revision>957</cp:revision>
  <cp:lastPrinted>2018-09-21T14:30:46Z</cp:lastPrinted>
  <dcterms:created xsi:type="dcterms:W3CDTF">2016-03-11T16:43:25Z</dcterms:created>
  <dcterms:modified xsi:type="dcterms:W3CDTF">2018-09-24T18:02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C4D1B9B35A7C5469B16801C501C644E</vt:lpwstr>
  </property>
</Properties>
</file>